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89" r:id="rId5"/>
  </p:sldMasterIdLst>
  <p:notesMasterIdLst>
    <p:notesMasterId r:id="rId20"/>
  </p:notesMasterIdLst>
  <p:handoutMasterIdLst>
    <p:handoutMasterId r:id="rId21"/>
  </p:handoutMasterIdLst>
  <p:sldIdLst>
    <p:sldId id="574" r:id="rId6"/>
    <p:sldId id="705" r:id="rId7"/>
    <p:sldId id="575" r:id="rId8"/>
    <p:sldId id="579" r:id="rId9"/>
    <p:sldId id="576" r:id="rId10"/>
    <p:sldId id="580" r:id="rId11"/>
    <p:sldId id="581" r:id="rId12"/>
    <p:sldId id="582" r:id="rId13"/>
    <p:sldId id="583" r:id="rId14"/>
    <p:sldId id="584" r:id="rId15"/>
    <p:sldId id="585" r:id="rId16"/>
    <p:sldId id="586" r:id="rId17"/>
    <p:sldId id="587" r:id="rId18"/>
    <p:sldId id="704" r:id="rId19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A1E4"/>
    <a:srgbClr val="E6E8F2"/>
    <a:srgbClr val="D0D4E8"/>
    <a:srgbClr val="ABE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 autoAdjust="0"/>
    <p:restoredTop sz="66545" autoAdjust="0"/>
  </p:normalViewPr>
  <p:slideViewPr>
    <p:cSldViewPr>
      <p:cViewPr varScale="1">
        <p:scale>
          <a:sx n="56" d="100"/>
          <a:sy n="56" d="100"/>
        </p:scale>
        <p:origin x="60" y="5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620" y="36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45B8CD-F359-4D94-8AD1-923710D8C70B}" type="datetimeFigureOut">
              <a:rPr lang="en-US" smtClean="0"/>
              <a:pPr/>
              <a:t>2/9/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135FA1E-2594-4534-BDDE-F96DBDDC820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6698777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449263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752586" y="4305565"/>
            <a:ext cx="4800634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-14808" y="11063"/>
            <a:ext cx="6934201" cy="325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MASCRIPT</a:t>
            </a:r>
            <a:r>
              <a:rPr lang="en-US" sz="130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5 (ES6)</a:t>
            </a: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 noChangeArrowheads="1"/>
          </p:cNvSpPr>
          <p:nvPr/>
        </p:nvSpPr>
        <p:spPr bwMode="auto">
          <a:xfrm>
            <a:off x="4226979" y="9020610"/>
            <a:ext cx="2946699" cy="47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725" tIns="48862" rIns="97725" bIns="48862"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		    Page 0-</a:t>
            </a:r>
            <a:fld id="{BD9FB300-F9DC-4669-88F4-967ABA23CC04}" type="slidenum">
              <a:rPr lang="en-US" sz="1100" smtClean="0">
                <a:latin typeface="Arial" panose="020B0604020202020204" pitchFamily="34" charset="0"/>
                <a:cs typeface="Arial" panose="020B0604020202020204" pitchFamily="34" charset="0"/>
              </a:rPr>
              <a:pPr marL="0" marR="0" indent="0" algn="l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>
            <a:off x="1523985" y="375016"/>
            <a:ext cx="0" cy="8401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6661" tIns="48331" rIns="96661" bIns="48331"/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0" y="675056"/>
            <a:ext cx="1447785" cy="497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Instructor Notes:</a:t>
            </a:r>
          </a:p>
        </p:txBody>
      </p:sp>
    </p:spTree>
    <p:extLst>
      <p:ext uri="{BB962C8B-B14F-4D97-AF65-F5344CB8AC3E}">
        <p14:creationId xmlns:p14="http://schemas.microsoft.com/office/powerpoint/2010/main" val="20824651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36725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9892633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If a child class doesn't have a constructor method, then the default behavior will invoke the constructor method of the parent class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384" y="4800600"/>
            <a:ext cx="4812177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82063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66925" y="4368492"/>
            <a:ext cx="4800634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1240763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384" y="4368552"/>
            <a:ext cx="4896544" cy="33843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693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66925" y="4368492"/>
            <a:ext cx="4800634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41848487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38350" y="4368492"/>
            <a:ext cx="4800634" cy="4320540"/>
          </a:xfrm>
        </p:spPr>
        <p:txBody>
          <a:bodyPr>
            <a:normAutofit/>
          </a:bodyPr>
          <a:lstStyle/>
          <a:p>
            <a:pPr defTabSz="966612"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552547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5736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513368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here can only be one constructor method in a class. Defining more than one constructor will throw the 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yntaxError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 exception.</a:t>
            </a:r>
          </a:p>
          <a:p>
            <a:pPr algn="just"/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 constructor method, by default, returns the new instance if there is no return statement in it. If there is a return statement, then whatever is the value in the return statement is returned.</a:t>
            </a:r>
          </a:p>
          <a:p>
            <a:pPr algn="just"/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Function calls can be made above the function definition. But in case of class, you cannot use a class before its defined. Trying to do so in classes will throw th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ReferenceError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exception. i.e. Classes are not hoisted.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973" y="6168752"/>
            <a:ext cx="3971925" cy="14763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9045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484" y="4368551"/>
            <a:ext cx="2952328" cy="4376392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249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66925" y="4368492"/>
            <a:ext cx="4800634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2340639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268" y="4368552"/>
            <a:ext cx="4824536" cy="37387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04010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66925" y="4368492"/>
            <a:ext cx="4800634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713467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12913" y="62388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13384" y="4305565"/>
            <a:ext cx="4800634" cy="4320540"/>
          </a:xfrm>
        </p:spPr>
        <p:txBody>
          <a:bodyPr>
            <a:normAutofit/>
          </a:bodyPr>
          <a:lstStyle/>
          <a:p>
            <a:pPr algn="just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2831" y="4368552"/>
            <a:ext cx="3381375" cy="20955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3256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36738" y="696913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866925" y="4368492"/>
            <a:ext cx="4800634" cy="432054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52400" y="1190149"/>
            <a:ext cx="1706880" cy="436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6661" tIns="48331" rIns="96661" bIns="4833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d instructor notes here. </a:t>
            </a:r>
          </a:p>
        </p:txBody>
      </p:sp>
    </p:spTree>
    <p:extLst>
      <p:ext uri="{BB962C8B-B14F-4D97-AF65-F5344CB8AC3E}">
        <p14:creationId xmlns:p14="http://schemas.microsoft.com/office/powerpoint/2010/main" val="288510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pgemini.com/optimize-your-business-and-it-operations" TargetMode="Externa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140681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2111956"/>
            <a:ext cx="8845484" cy="402656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98604" y="1495447"/>
            <a:ext cx="8860286" cy="643612"/>
          </a:xfrm>
        </p:spPr>
        <p:txBody>
          <a:bodyPr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6839463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1533439"/>
            <a:ext cx="4155820" cy="471550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1533440"/>
            <a:ext cx="4155820" cy="4725584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59647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 hasCustomPrompt="1"/>
            <p:custDataLst>
              <p:tags r:id="rId4"/>
            </p:custDataLst>
          </p:nvPr>
        </p:nvSpPr>
        <p:spPr>
          <a:xfrm>
            <a:off x="290500" y="2206953"/>
            <a:ext cx="4155820" cy="404199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 hasCustomPrompt="1"/>
            <p:custDataLst>
              <p:tags r:id="rId5"/>
            </p:custDataLst>
          </p:nvPr>
        </p:nvSpPr>
        <p:spPr>
          <a:xfrm>
            <a:off x="4636466" y="2208394"/>
            <a:ext cx="4155820" cy="405063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90501" y="1542648"/>
            <a:ext cx="4155820" cy="653034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tx2">
                    <a:lumMod val="50000"/>
                  </a:schemeClr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636749" y="1533439"/>
            <a:ext cx="4155820" cy="653034"/>
          </a:xfrm>
        </p:spPr>
        <p:txBody>
          <a:bodyPr anchor="ctr"/>
          <a:lstStyle>
            <a:lvl1pPr algn="ctr">
              <a:buNone/>
              <a:defRPr lang="fr-FR" sz="2200" b="1" kern="1200" noProof="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127707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8791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8791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2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66260" y="1459814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66260" y="1984895"/>
            <a:ext cx="3990466" cy="1685312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08791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wrap="square" anchor="ctr">
            <a:noAutofit/>
          </a:bodyPr>
          <a:lstStyle>
            <a:lvl1pPr marL="0" indent="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08791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66260" y="3843789"/>
            <a:ext cx="3990466" cy="468996"/>
          </a:xfrm>
          <a:solidFill>
            <a:schemeClr val="accent2"/>
          </a:solidFill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4766260" y="4375488"/>
            <a:ext cx="3990466" cy="1820917"/>
          </a:xfr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9144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 baseline="0"/>
            </a:lvl4pPr>
            <a:lvl5pPr>
              <a:defRPr sz="11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720591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15200" y="1828799"/>
            <a:ext cx="1693941" cy="15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700978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006943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6760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Ø"/>
              <a:defRPr/>
            </a:lvl1pPr>
            <a:lvl4pPr>
              <a:defRPr lang="en-US" sz="1600" kern="1200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CD3BC1-A2FE-477B-BC4B-91440EEA7D51}" type="datetimeFigureOut">
              <a:rPr lang="en-US" smtClean="0"/>
              <a:pPr/>
              <a:t>2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7C1CF3-A711-4C17-A994-E6863511BA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6583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06210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" name="Graphic 97">
            <a:extLst>
              <a:ext uri="{FF2B5EF4-FFF2-40B4-BE49-F238E27FC236}">
                <a16:creationId xmlns:a16="http://schemas.microsoft.com/office/drawing/2014/main" id="{46279687-00F0-4823-8159-585447C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845575" y="0"/>
            <a:ext cx="5298425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  <p:pic>
        <p:nvPicPr>
          <p:cNvPr id="7" name="Graphic 9">
            <a:extLst>
              <a:ext uri="{FF2B5EF4-FFF2-40B4-BE49-F238E27FC236}">
                <a16:creationId xmlns:a16="http://schemas.microsoft.com/office/drawing/2014/main" id="{C3D2EC56-D17C-4A75-8178-C69397BC7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991" y="6101473"/>
            <a:ext cx="1714500" cy="51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795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D4D731-14A5-4158-B245-8DDD87FF6D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80" b="21349"/>
          <a:stretch/>
        </p:blipFill>
        <p:spPr>
          <a:xfrm flipH="1">
            <a:off x="3676014" y="838200"/>
            <a:ext cx="5467986" cy="6019801"/>
          </a:xfrm>
          <a:prstGeom prst="rect">
            <a:avLst/>
          </a:prstGeom>
        </p:spPr>
      </p:pic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4078" y="2946391"/>
            <a:ext cx="3563932" cy="1418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ts val="2250"/>
              </a:lnSpc>
              <a:buNone/>
              <a:defRPr sz="195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section title</a:t>
            </a:r>
          </a:p>
        </p:txBody>
      </p:sp>
      <p:pic>
        <p:nvPicPr>
          <p:cNvPr id="6" name="Picture Placeholder 4">
            <a:extLst>
              <a:ext uri="{FF2B5EF4-FFF2-40B4-BE49-F238E27FC236}">
                <a16:creationId xmlns:a16="http://schemas.microsoft.com/office/drawing/2014/main" id="{F75B031B-5C69-4C3C-AB8F-4121747D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8" r="22708"/>
          <a:stretch/>
        </p:blipFill>
        <p:spPr>
          <a:xfrm flipH="1">
            <a:off x="0" y="-1588"/>
            <a:ext cx="49911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238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6738222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05991" y="3068961"/>
            <a:ext cx="3725949" cy="720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>
            <a:lvl1pPr>
              <a:lnSpc>
                <a:spcPts val="2250"/>
              </a:lnSpc>
              <a:defRPr lang="en-US" sz="1950" b="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991" y="3932560"/>
            <a:ext cx="3725949" cy="1223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lvl1pPr marL="0" marR="0" indent="0" algn="l" defTabSz="685800" rtl="0" eaLnBrk="1" fontAlgn="auto" latinLnBrk="0" hangingPunct="1">
              <a:lnSpc>
                <a:spcPts val="13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dirty="0">
                <a:solidFill>
                  <a:srgbClr val="0070AD"/>
                </a:solidFill>
              </a:defRPr>
            </a:lvl1pPr>
          </a:lstStyle>
          <a:p>
            <a:pPr marL="0" lvl="0"/>
            <a:r>
              <a:rPr lang="en-US" dirty="0"/>
              <a:t>Click to insert presenter, location, and date</a:t>
            </a:r>
          </a:p>
        </p:txBody>
      </p:sp>
    </p:spTree>
    <p:extLst>
      <p:ext uri="{BB962C8B-B14F-4D97-AF65-F5344CB8AC3E}">
        <p14:creationId xmlns:p14="http://schemas.microsoft.com/office/powerpoint/2010/main" val="1295572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6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34836050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3417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06901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84066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855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7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7">
            <a:hlinkClick r:id="rId2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9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6085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8567D75B-5423-48DB-8633-03391840D1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0601" y="1"/>
            <a:ext cx="4343399" cy="5902959"/>
          </a:xfrm>
          <a:prstGeom prst="rect">
            <a:avLst/>
          </a:prstGeom>
        </p:spPr>
      </p:pic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367AB1B6-26E9-4FAE-989E-AB1A5DFB196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13515" y="-1"/>
            <a:ext cx="4430485" cy="6857998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52BBB0A-405D-419D-8BD5-EC8D9F84B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404813"/>
            <a:ext cx="8262453" cy="863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pt-PT" dirty="0"/>
            </a:lvl1pPr>
          </a:lstStyle>
          <a:p>
            <a:pPr lvl="0">
              <a:lnSpc>
                <a:spcPts val="2250"/>
              </a:lnSpc>
            </a:pPr>
            <a:r>
              <a:rPr lang="en-US" dirty="0"/>
              <a:t>Click to add title</a:t>
            </a:r>
            <a:endParaRPr lang="pt-PT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3194" y="1430234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194" y="3253616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228FC83-C11D-47F2-8BDE-B10D125E5E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194" y="5076998"/>
            <a:ext cx="4258807" cy="136815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650"/>
              </a:lnSpc>
              <a:defRPr sz="1350">
                <a:solidFill>
                  <a:schemeClr val="tx1"/>
                </a:solidFill>
              </a:defRPr>
            </a:lvl1pPr>
            <a:lvl2pPr marL="173831" indent="-170260">
              <a:lnSpc>
                <a:spcPts val="1350"/>
              </a:lnSpc>
              <a:defRPr sz="1200">
                <a:solidFill>
                  <a:schemeClr val="tx1"/>
                </a:solidFill>
              </a:defRPr>
            </a:lvl2pPr>
            <a:lvl3pPr marL="347663" indent="-173831">
              <a:lnSpc>
                <a:spcPts val="1200"/>
              </a:lnSpc>
              <a:defRPr sz="1050">
                <a:solidFill>
                  <a:schemeClr val="tx1"/>
                </a:solidFill>
              </a:defRPr>
            </a:lvl3pPr>
            <a:lvl4pPr marL="511969" indent="-164306">
              <a:lnSpc>
                <a:spcPts val="1050"/>
              </a:lnSpc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/>
        </p:nvSpPr>
        <p:spPr>
          <a:xfrm>
            <a:off x="8702075" y="6555758"/>
            <a:ext cx="31771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6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t>‹#›</a:t>
            </a:fld>
            <a:endParaRPr lang="en-US" sz="6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cxnSp>
        <p:nvCxnSpPr>
          <p:cNvPr id="20" name="Conector reto 49">
            <a:extLst>
              <a:ext uri="{FF2B5EF4-FFF2-40B4-BE49-F238E27FC236}">
                <a16:creationId xmlns:a16="http://schemas.microsoft.com/office/drawing/2014/main" id="{6B6D7F6B-C184-4C2B-8EB7-067E0C1E8DF2}"/>
              </a:ext>
            </a:extLst>
          </p:cNvPr>
          <p:cNvCxnSpPr>
            <a:cxnSpLocks/>
          </p:cNvCxnSpPr>
          <p:nvPr/>
        </p:nvCxnSpPr>
        <p:spPr>
          <a:xfrm flipV="1">
            <a:off x="2462756" y="6587911"/>
            <a:ext cx="0" cy="155576"/>
          </a:xfrm>
          <a:prstGeom prst="line">
            <a:avLst/>
          </a:prstGeom>
          <a:solidFill>
            <a:schemeClr val="tx1"/>
          </a:solidFill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7">
            <a:hlinkClick r:id="rId4"/>
            <a:extLst>
              <a:ext uri="{FF2B5EF4-FFF2-40B4-BE49-F238E27FC236}">
                <a16:creationId xmlns:a16="http://schemas.microsoft.com/office/drawing/2014/main" id="{F376ABD1-4930-42EB-9A73-9A9C7C6BF2D3}"/>
              </a:ext>
            </a:extLst>
          </p:cNvPr>
          <p:cNvSpPr/>
          <p:nvPr/>
        </p:nvSpPr>
        <p:spPr>
          <a:xfrm>
            <a:off x="305992" y="6555971"/>
            <a:ext cx="2121755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 algn="l" defTabSz="685800">
              <a:lnSpc>
                <a:spcPct val="85000"/>
              </a:lnSpc>
              <a:defRPr/>
            </a:pPr>
            <a:r>
              <a:rPr lang="en-US" sz="600" kern="0" dirty="0">
                <a:solidFill>
                  <a:srgbClr val="00458D"/>
                </a:solidFill>
                <a:latin typeface="+mj-lt"/>
                <a:cs typeface="Arial" panose="020B0604020202020204" pitchFamily="34" charset="0"/>
              </a:rPr>
              <a:t>Presentation Title | Author | Date</a:t>
            </a:r>
          </a:p>
        </p:txBody>
      </p:sp>
      <p:sp>
        <p:nvSpPr>
          <p:cNvPr id="22" name="Retângulo 43">
            <a:extLst>
              <a:ext uri="{FF2B5EF4-FFF2-40B4-BE49-F238E27FC236}">
                <a16:creationId xmlns:a16="http://schemas.microsoft.com/office/drawing/2014/main" id="{834ADCB4-BFB1-450D-8F6D-64217F4CD92C}"/>
              </a:ext>
            </a:extLst>
          </p:cNvPr>
          <p:cNvSpPr/>
          <p:nvPr/>
        </p:nvSpPr>
        <p:spPr>
          <a:xfrm>
            <a:off x="2558534" y="6555758"/>
            <a:ext cx="1667765" cy="21945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algn="l"/>
            <a:r>
              <a:rPr lang="en-US" sz="60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© 2017 Capgemini. All rights reserved.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0207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2959926"/>
            <a:ext cx="5035137" cy="1098157"/>
          </a:xfrm>
        </p:spPr>
        <p:txBody>
          <a:bodyPr lIns="720000" tIns="33059" rIns="33059" bIns="33059" anchor="t"/>
          <a:lstStyle>
            <a:lvl1pPr marL="0" indent="0" algn="l">
              <a:defRPr sz="37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491614" y="4949633"/>
            <a:ext cx="4652387" cy="874227"/>
          </a:xfrm>
        </p:spPr>
        <p:txBody>
          <a:bodyPr lIns="720000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393161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306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sson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79376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28800"/>
            <a:ext cx="2003192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7832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8080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649748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828800"/>
            <a:ext cx="2103120" cy="155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1863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7" y="1494766"/>
            <a:ext cx="6559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828800"/>
            <a:ext cx="2286000" cy="160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7026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19458" name="Picture 2" descr="http://www.strategic-resume.com/wp-content/uploads/2015/08/SummaryIco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885" y="1494990"/>
            <a:ext cx="16383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3669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3350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ssm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375" y="1828800"/>
            <a:ext cx="1828800" cy="18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6051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298516" y="1494766"/>
            <a:ext cx="6887389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21966856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10.sv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" y="0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fr-FR" noProof="0" dirty="0"/>
              <a:t>Cliquez pour modifier le style du tit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298516" y="1501977"/>
            <a:ext cx="8712115" cy="4636540"/>
          </a:xfrm>
          <a:prstGeom prst="rect">
            <a:avLst/>
          </a:prstGeom>
        </p:spPr>
        <p:txBody>
          <a:bodyPr vert="horz" lIns="108000" tIns="72000" rIns="72000" bIns="72000" rtlCol="0">
            <a:noAutofit/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1" name="TextBox 10"/>
          <p:cNvSpPr txBox="1"/>
          <p:nvPr>
            <p:custDataLst>
              <p:tags r:id="rId23"/>
            </p:custDataLst>
          </p:nvPr>
        </p:nvSpPr>
        <p:spPr>
          <a:xfrm>
            <a:off x="8827276" y="666169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2"/>
                </a:solidFill>
              </a:rPr>
              <a:pPr algn="ctr"/>
              <a:t>‹#›</a:t>
            </a:fld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3228" y="6623404"/>
            <a:ext cx="2455979" cy="18350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35997" tIns="35997" rIns="35997" bIns="35997" anchor="b" anchorCtr="0">
            <a:noAutofit/>
          </a:bodyPr>
          <a:lstStyle/>
          <a:p>
            <a:pPr marL="0" marR="0" lvl="0" indent="0" algn="r" defTabSz="995445" rtl="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600" b="0" i="0" noProof="0" dirty="0">
                <a:solidFill>
                  <a:schemeClr val="tx2"/>
                </a:solidFill>
                <a:latin typeface="+mj-lt"/>
                <a:cs typeface="Helvetica Light"/>
              </a:rPr>
              <a:t>Copyright © Capgemini 2015. All Rights Reserved</a:t>
            </a:r>
          </a:p>
        </p:txBody>
      </p:sp>
      <p:cxnSp>
        <p:nvCxnSpPr>
          <p:cNvPr id="15" name="Straight Connector 5"/>
          <p:cNvCxnSpPr/>
          <p:nvPr>
            <p:custDataLst>
              <p:tags r:id="rId26"/>
            </p:custDataLst>
          </p:nvPr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Capgemini_logo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70463" y="6439028"/>
            <a:ext cx="1438102" cy="344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703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</p:sldLayoutIdLst>
  <p:txStyles>
    <p:titleStyle>
      <a:lvl1pPr marL="0" indent="0"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189" indent="-166189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5"/>
        </a:buClr>
        <a:buFont typeface="Wingdings" pitchFamily="2" charset="2"/>
        <a:buChar char="§"/>
        <a:defRPr sz="2200" b="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35560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itchFamily="2" charset="2"/>
        <a:buChar char="§"/>
        <a:defRPr sz="18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536575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tabLst/>
        <a:defRPr sz="16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711200" indent="-165100" algn="l" defTabSz="91434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bg2"/>
        </a:buClr>
        <a:buFont typeface="Arial" pitchFamily="34" charset="0"/>
        <a:buChar char="–"/>
        <a:tabLst/>
        <a:defRPr sz="14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66C6B93-5A4F-43B7-84C4-C42EC870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01" y="418452"/>
            <a:ext cx="8312649" cy="8595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>
              <a:lnSpc>
                <a:spcPts val="2250"/>
              </a:lnSpc>
            </a:pPr>
            <a:r>
              <a:rPr lang="en-US"/>
              <a:t>Click to edit Master title style</a:t>
            </a:r>
            <a:endParaRPr lang="pt-P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F310831-D03E-404B-934F-73B268225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9801" y="1412876"/>
            <a:ext cx="8528209" cy="43513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81836" t="-4713" b="16530"/>
          <a:stretch/>
        </p:blipFill>
        <p:spPr>
          <a:xfrm>
            <a:off x="8660845" y="188640"/>
            <a:ext cx="318267" cy="45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568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pt-PT"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ts val="165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2" indent="-171450" algn="l" defTabSz="685800" rtl="0" eaLnBrk="1" latinLnBrk="0" hangingPunct="1">
        <a:lnSpc>
          <a:spcPts val="1350"/>
        </a:lnSpc>
        <a:spcBef>
          <a:spcPts val="0"/>
        </a:spcBef>
        <a:spcAft>
          <a:spcPts val="45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685800" rtl="0" eaLnBrk="1" latinLnBrk="0" hangingPunct="1">
        <a:lnSpc>
          <a:spcPts val="120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17922" indent="-175022" algn="l" defTabSz="685800" rtl="0" eaLnBrk="1" latinLnBrk="0" hangingPunct="1">
        <a:lnSpc>
          <a:spcPts val="1050"/>
        </a:lnSpc>
        <a:spcBef>
          <a:spcPts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7423">
          <p15:clr>
            <a:srgbClr val="F26B43"/>
          </p15:clr>
        </p15:guide>
        <p15:guide id="3" pos="257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JavaScript ES6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Lesson</a:t>
            </a:r>
            <a:r>
              <a:rPr lang="en-US" sz="2000"/>
              <a:t>: 15</a:t>
            </a: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Working with Classes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029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Implementing inheritance in clas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94766"/>
            <a:ext cx="8784976" cy="4643751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en-US" sz="1800" dirty="0"/>
              <a:t>ES6 implement the inheritance hierarchy in the classes with the help of extends clause, and the super keyword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By using the extends clause, a class can inherit static and non-static properties of another constructor(which may or may not be defined using a class)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The super keyword is used in two ways: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/>
              <a:t>It's used in a class constructor method to call the parent constructor;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/>
              <a:t>When used inside methods of a class, it references the static and non-static methods of the parent constructor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/>
              <a:t>super keyword can be used with object literal as well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If constructor is defined in child class, then super() need to be compulsorily provided even though constructor is not defined in parent class.</a:t>
            </a:r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397193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Dem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inheritance</a:t>
            </a:r>
          </a:p>
        </p:txBody>
      </p:sp>
    </p:spTree>
    <p:extLst>
      <p:ext uri="{BB962C8B-B14F-4D97-AF65-F5344CB8AC3E}">
        <p14:creationId xmlns:p14="http://schemas.microsoft.com/office/powerpoint/2010/main" val="12766810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The "</a:t>
            </a:r>
            <a:r>
              <a:rPr lang="en-US" sz="3000" dirty="0" err="1"/>
              <a:t>new.target</a:t>
            </a:r>
            <a:r>
              <a:rPr lang="en-US" sz="3000" dirty="0"/>
              <a:t>" implicit parame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340768"/>
            <a:ext cx="8784976" cy="4814554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800" dirty="0"/>
              <a:t>ES6 adds a parameter named </a:t>
            </a:r>
            <a:r>
              <a:rPr lang="en-US" sz="1800" dirty="0" err="1"/>
              <a:t>new.target</a:t>
            </a:r>
            <a:r>
              <a:rPr lang="en-US" sz="1800" dirty="0"/>
              <a:t> to all the functions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The default value of </a:t>
            </a:r>
            <a:r>
              <a:rPr lang="en-US" sz="1800" dirty="0" err="1"/>
              <a:t>new.target</a:t>
            </a:r>
            <a:r>
              <a:rPr lang="en-US" sz="1800" dirty="0"/>
              <a:t> is undefined, but when a function is invoked as a constructor, the value of the </a:t>
            </a:r>
            <a:r>
              <a:rPr lang="en-US" sz="1800" dirty="0" err="1"/>
              <a:t>new.target</a:t>
            </a:r>
            <a:r>
              <a:rPr lang="en-US" sz="1800" dirty="0"/>
              <a:t> parameter depends on the following conditions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/>
              <a:t>If a constructor is invoked using a new operator, then </a:t>
            </a:r>
            <a:r>
              <a:rPr lang="en-US" sz="1600" dirty="0" err="1"/>
              <a:t>new.target</a:t>
            </a:r>
            <a:r>
              <a:rPr lang="en-US" sz="1600" dirty="0"/>
              <a:t> points to this constructor</a:t>
            </a:r>
          </a:p>
          <a:p>
            <a:pPr lvl="1" algn="just">
              <a:lnSpc>
                <a:spcPct val="150000"/>
              </a:lnSpc>
            </a:pPr>
            <a:r>
              <a:rPr lang="en-US" sz="1600" dirty="0"/>
              <a:t>If a constructor is invoked via super keyword, then the value of </a:t>
            </a:r>
            <a:r>
              <a:rPr lang="en-US" sz="1600" dirty="0" err="1"/>
              <a:t>new.target</a:t>
            </a:r>
            <a:r>
              <a:rPr lang="en-US" sz="1600" dirty="0"/>
              <a:t> in it is the same as the value of </a:t>
            </a:r>
            <a:r>
              <a:rPr lang="en-US" sz="1600" dirty="0" err="1"/>
              <a:t>new.target</a:t>
            </a:r>
            <a:r>
              <a:rPr lang="en-US" sz="1600" dirty="0"/>
              <a:t> of the constructor that is called super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Using </a:t>
            </a:r>
            <a:r>
              <a:rPr lang="en-US" sz="1800" dirty="0" err="1"/>
              <a:t>new.target</a:t>
            </a:r>
            <a:r>
              <a:rPr lang="en-US" sz="1800" dirty="0"/>
              <a:t>  static methods can be accessed in the initial constructor call even though it is a part of the prototype chain.</a:t>
            </a:r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16351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Dem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err="1">
                <a:latin typeface="+mj-lt"/>
              </a:rPr>
              <a:t>new.target</a:t>
            </a:r>
            <a:endParaRPr lang="en-U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05729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800" dirty="0"/>
              <a:t>ES6 classes aim to provide a much simpler and clearer syntax for dealing with the constructors and inheritance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Classes are not hoisted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 There can only be one constructor method in a class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Using the extends clause, a class can inherit static and non-static properties of another constructor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ES6 implement the inheritance hierarchy in the classes with the help of extends clause, and the super keyword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super keyword is used in a class constructor method to call the parent constructor.</a:t>
            </a:r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00000"/>
              </a:lnSpc>
            </a:pPr>
            <a:endParaRPr lang="en-US" sz="1800" dirty="0">
              <a:latin typeface="Candara" panose="020E0502030303020204" pitchFamily="34" charset="0"/>
            </a:endParaRPr>
          </a:p>
          <a:p>
            <a:pPr algn="just">
              <a:lnSpc>
                <a:spcPct val="100000"/>
              </a:lnSpc>
            </a:pPr>
            <a:endParaRPr lang="en-US" sz="1800" dirty="0">
              <a:latin typeface="Candara" panose="020E0502030303020204" pitchFamily="34" charset="0"/>
            </a:endParaRPr>
          </a:p>
          <a:p>
            <a:pPr algn="just">
              <a:lnSpc>
                <a:spcPct val="100000"/>
              </a:lnSpc>
            </a:pPr>
            <a:endParaRPr lang="en-US" sz="1800" dirty="0">
              <a:latin typeface="Candara" panose="020E0502030303020204" pitchFamily="34" charset="0"/>
            </a:endParaRPr>
          </a:p>
          <a:p>
            <a:pPr algn="just">
              <a:lnSpc>
                <a:spcPct val="100000"/>
              </a:lnSpc>
            </a:pPr>
            <a:endParaRPr lang="en-US" sz="1800" dirty="0">
              <a:latin typeface="Candara" panose="020E0502030303020204" pitchFamily="34" charset="0"/>
            </a:endParaRPr>
          </a:p>
          <a:p>
            <a:endParaRPr lang="en-US" sz="1800" dirty="0">
              <a:latin typeface="Candara" panose="020E0502030303020204" pitchFamily="34" charset="0"/>
            </a:endParaRPr>
          </a:p>
          <a:p>
            <a:endParaRPr lang="en-US" sz="1800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248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esson Objectiv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/>
              <a:t>At the end of this module you will be able to: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Explain what are classes in ES6?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Create objects using classes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Implement inheritance in classes</a:t>
            </a:r>
          </a:p>
          <a:p>
            <a:pPr lvl="1">
              <a:lnSpc>
                <a:spcPct val="150000"/>
              </a:lnSpc>
            </a:pPr>
            <a:r>
              <a:rPr lang="en-US" sz="1600" dirty="0"/>
              <a:t>Use the features of classes</a:t>
            </a:r>
          </a:p>
        </p:txBody>
      </p:sp>
    </p:spTree>
    <p:extLst>
      <p:ext uri="{BB962C8B-B14F-4D97-AF65-F5344CB8AC3E}">
        <p14:creationId xmlns:p14="http://schemas.microsoft.com/office/powerpoint/2010/main" val="939539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ES6 – Class 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94766"/>
            <a:ext cx="8784976" cy="4643751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800" dirty="0"/>
              <a:t>Although it's an object-oriented programming language; JavaScript never had the concept of classes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Programmers from the other programming language background often found it difficult to understand JavaScript's object-oriented model and inheritance due to lack of classes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ES6 introduced classes that provide a much simpler and clearer syntax to creating constructors and dealing with inheritance.</a:t>
            </a:r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140172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Using Clas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94766"/>
            <a:ext cx="8784976" cy="4643751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800" dirty="0"/>
              <a:t>ES6 classes aim to provide a much simpler and clearer syntax for dealing with the constructors and inheritance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Classes are just a new syntax for creating functions that are used as constructors. In fact, classes are functions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 There are two ways to define a class</a:t>
            </a:r>
          </a:p>
          <a:p>
            <a:pPr lvl="1" algn="just">
              <a:lnSpc>
                <a:spcPct val="150000"/>
              </a:lnSpc>
            </a:pPr>
            <a:r>
              <a:rPr lang="en-US" sz="1400" dirty="0"/>
              <a:t> </a:t>
            </a:r>
            <a:r>
              <a:rPr lang="en-US" sz="1400" b="1" dirty="0"/>
              <a:t>Using the class declaration  </a:t>
            </a:r>
            <a:r>
              <a:rPr lang="en-US" sz="1400" dirty="0"/>
              <a:t>: For defining a class using the class declaration required the class keyword, and a name for the class</a:t>
            </a:r>
          </a:p>
          <a:p>
            <a:pPr lvl="1" algn="just">
              <a:lnSpc>
                <a:spcPct val="150000"/>
              </a:lnSpc>
            </a:pPr>
            <a:r>
              <a:rPr lang="en-US" sz="1400" b="1" dirty="0"/>
              <a:t>Using the class expression </a:t>
            </a:r>
            <a:r>
              <a:rPr lang="en-US" sz="1400" dirty="0"/>
              <a:t>: A class expression has a similar syntax to a class declaration. However, with class expressions, class name can be omitted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ES6 class doesn't pollute the global namespace. i.e. it wont get attached to window object and classes are not hoisted.</a:t>
            </a:r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203667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Dem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Using-Classes</a:t>
            </a:r>
          </a:p>
        </p:txBody>
      </p:sp>
    </p:spTree>
    <p:extLst>
      <p:ext uri="{BB962C8B-B14F-4D97-AF65-F5344CB8AC3E}">
        <p14:creationId xmlns:p14="http://schemas.microsoft.com/office/powerpoint/2010/main" val="28379475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The get and set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94766"/>
            <a:ext cx="8784976" cy="4643751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800" dirty="0"/>
              <a:t>Class instance members / fields can be initialized inside the constructor  using </a:t>
            </a:r>
            <a:r>
              <a:rPr lang="en-US" sz="1800" b="1" i="1" dirty="0"/>
              <a:t>this</a:t>
            </a:r>
            <a:r>
              <a:rPr lang="en-US" sz="1800" dirty="0"/>
              <a:t> keyword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ES6 introduced the get and set prefixes for methods, which is used to encapsulate the instance members.</a:t>
            </a:r>
          </a:p>
          <a:p>
            <a:pPr algn="just">
              <a:lnSpc>
                <a:spcPct val="150000"/>
              </a:lnSpc>
            </a:pPr>
            <a:r>
              <a:rPr lang="en-US" sz="1800" dirty="0">
                <a:solidFill>
                  <a:srgbClr val="333333"/>
                </a:solidFill>
              </a:rPr>
              <a:t>When </a:t>
            </a:r>
            <a:r>
              <a:rPr lang="en-US" sz="1800" dirty="0"/>
              <a:t>get</a:t>
            </a:r>
            <a:r>
              <a:rPr lang="en-US" sz="1800" dirty="0">
                <a:solidFill>
                  <a:srgbClr val="333333"/>
                </a:solidFill>
              </a:rPr>
              <a:t> and </a:t>
            </a:r>
            <a:r>
              <a:rPr lang="en-US" sz="1800" dirty="0"/>
              <a:t>set</a:t>
            </a:r>
            <a:r>
              <a:rPr lang="en-US" sz="1800" dirty="0">
                <a:solidFill>
                  <a:srgbClr val="333333"/>
                </a:solidFill>
              </a:rPr>
              <a:t> methods are used in a class body, they are added to the </a:t>
            </a:r>
            <a:r>
              <a:rPr lang="en-US" sz="1800" dirty="0"/>
              <a:t>prototype</a:t>
            </a:r>
            <a:r>
              <a:rPr lang="en-US" sz="1800" dirty="0">
                <a:solidFill>
                  <a:srgbClr val="333333"/>
                </a:solidFill>
              </a:rPr>
              <a:t> property of the class.</a:t>
            </a: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  <a:p>
            <a:pPr algn="just"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34037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Dem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get-set-methods</a:t>
            </a:r>
          </a:p>
        </p:txBody>
      </p:sp>
    </p:spTree>
    <p:extLst>
      <p:ext uri="{BB962C8B-B14F-4D97-AF65-F5344CB8AC3E}">
        <p14:creationId xmlns:p14="http://schemas.microsoft.com/office/powerpoint/2010/main" val="2765548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The static metho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94766"/>
            <a:ext cx="8784976" cy="4643751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800" dirty="0"/>
              <a:t>The methods that are added to the body of the class with the static prefix are called as static methods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Static methods are the own methods of the class, i.e. they are not added to the prototype property of the class, rather they are added to the class itself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Static methods are often used to create utility functions for an application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Static methods should be access through its class name.</a:t>
            </a:r>
          </a:p>
          <a:p>
            <a:pPr algn="just">
              <a:lnSpc>
                <a:spcPct val="150000"/>
              </a:lnSpc>
            </a:pPr>
            <a:r>
              <a:rPr lang="en-US" sz="1800" dirty="0"/>
              <a:t>At present we can create only static methods in order to create static members of the class it need to attached to it's class name  outside the class.</a:t>
            </a:r>
          </a:p>
          <a:p>
            <a:pPr algn="just">
              <a:lnSpc>
                <a:spcPct val="15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15907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/>
              <a:t>Dem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static-method</a:t>
            </a:r>
          </a:p>
        </p:txBody>
      </p:sp>
    </p:spTree>
    <p:extLst>
      <p:ext uri="{BB962C8B-B14F-4D97-AF65-F5344CB8AC3E}">
        <p14:creationId xmlns:p14="http://schemas.microsoft.com/office/powerpoint/2010/main" val="2863652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4A68crEiZSNCDbGy9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heme/theme1.xml><?xml version="1.0" encoding="utf-8"?>
<a:theme xmlns:a="http://schemas.openxmlformats.org/drawingml/2006/main" name="2_Corporate Presentation Template (4x3 - Normal)">
  <a:themeElements>
    <a:clrScheme name="Capgemini">
      <a:dk1>
        <a:srgbClr val="00264A"/>
      </a:dk1>
      <a:lt1>
        <a:sysClr val="window" lastClr="FFFFFF"/>
      </a:lt1>
      <a:dk2>
        <a:srgbClr val="9F958F"/>
      </a:dk2>
      <a:lt2>
        <a:srgbClr val="909090"/>
      </a:lt2>
      <a:accent1>
        <a:srgbClr val="F9BE01"/>
      </a:accent1>
      <a:accent2>
        <a:srgbClr val="ED771A"/>
      </a:accent2>
      <a:accent3>
        <a:srgbClr val="B70132"/>
      </a:accent3>
      <a:accent4>
        <a:srgbClr val="691E7C"/>
      </a:accent4>
      <a:accent5>
        <a:srgbClr val="0098CC"/>
      </a:accent5>
      <a:accent6>
        <a:srgbClr val="BDBD00"/>
      </a:accent6>
      <a:hlink>
        <a:srgbClr val="7DAFA5"/>
      </a:hlink>
      <a:folHlink>
        <a:srgbClr val="BA0065"/>
      </a:folHlink>
    </a:clrScheme>
    <a:fontScheme name="Capgemin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tx2"/>
          </a:solidFill>
        </a:ln>
      </a:spPr>
      <a:bodyPr rtlCol="0" anchor="ctr"/>
      <a:lstStyle>
        <a:defPPr algn="ctr">
          <a:defRPr sz="2400" dirty="0" err="1" smtClean="0">
            <a:solidFill>
              <a:schemeClr val="tx2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ection slides">
  <a:themeElements>
    <a:clrScheme name="New-CG">
      <a:dk1>
        <a:srgbClr val="000000"/>
      </a:dk1>
      <a:lt1>
        <a:sysClr val="window" lastClr="FFFFFF"/>
      </a:lt1>
      <a:dk2>
        <a:srgbClr val="0070AD"/>
      </a:dk2>
      <a:lt2>
        <a:srgbClr val="EDEDED"/>
      </a:lt2>
      <a:accent1>
        <a:srgbClr val="0070AD"/>
      </a:accent1>
      <a:accent2>
        <a:srgbClr val="12ABDB"/>
      </a:accent2>
      <a:accent3>
        <a:srgbClr val="2B0A3D"/>
      </a:accent3>
      <a:accent4>
        <a:srgbClr val="FF304C"/>
      </a:accent4>
      <a:accent5>
        <a:srgbClr val="95E616"/>
      </a:accent5>
      <a:accent6>
        <a:srgbClr val="C2CF00"/>
      </a:accent6>
      <a:hlink>
        <a:srgbClr val="005481"/>
      </a:hlink>
      <a:folHlink>
        <a:srgbClr val="861763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E2A668E2-A2C0-441C-98B1-C064EF3C7B80}" vid="{275EFF7A-992F-43CC-9E2C-78EACCB73B1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DCDateModified xmlns="http://schemas.microsoft.com/sharepoint/v3/fields" xsi:nil="true"/>
    <Material_x0020_Type xmlns="26bed2a0-a239-4228-bd8e-b46f54fc12da">Class book</Material_x0020_Type>
    <Category xmlns="26bed2a0-a239-4228-bd8e-b46f54fc12da">Module Artifact</Category>
    <Level xmlns="26bed2a0-a239-4228-bd8e-b46f54fc12da">L1</Leve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F797F9BD2124B9B89E1787624A7F8" ma:contentTypeVersion="10" ma:contentTypeDescription="Create a new document." ma:contentTypeScope="" ma:versionID="03814cf005c1043a69fcbf3e0b60b2c8">
  <xsd:schema xmlns:xsd="http://www.w3.org/2001/XMLSchema" xmlns:xs="http://www.w3.org/2001/XMLSchema" xmlns:p="http://schemas.microsoft.com/office/2006/metadata/properties" xmlns:ns2="http://schemas.microsoft.com/sharepoint/v3/fields" xmlns:ns3="26bed2a0-a239-4228-bd8e-b46f54fc12da" targetNamespace="http://schemas.microsoft.com/office/2006/metadata/properties" ma:root="true" ma:fieldsID="1aa2d91e2c97cf3ea1917b84d2ae9624" ns2:_="" ns3:_="">
    <xsd:import namespace="http://schemas.microsoft.com/sharepoint/v3/fields"/>
    <xsd:import namespace="26bed2a0-a239-4228-bd8e-b46f54fc12da"/>
    <xsd:element name="properties">
      <xsd:complexType>
        <xsd:sequence>
          <xsd:element name="documentManagement">
            <xsd:complexType>
              <xsd:all>
                <xsd:element ref="ns2:_Version" minOccurs="0"/>
                <xsd:element ref="ns3:Level"/>
                <xsd:element ref="ns3:Category"/>
                <xsd:element ref="ns2:_DCDateModified" minOccurs="0"/>
                <xsd:element ref="ns3:Material_x0020_Type"/>
                <xsd:element ref="ns3:MediaServiceMetadata" minOccurs="0"/>
                <xsd:element ref="ns3:MediaServiceFastMetadata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  <xsd:element name="_DCDateModified" ma:index="11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ed2a0-a239-4228-bd8e-b46f54fc12da" elementFormDefault="qualified">
    <xsd:import namespace="http://schemas.microsoft.com/office/2006/documentManagement/types"/>
    <xsd:import namespace="http://schemas.microsoft.com/office/infopath/2007/PartnerControls"/>
    <xsd:element name="Level" ma:index="9" ma:displayName="Level" ma:format="Dropdown" ma:internalName="Level">
      <xsd:simpleType>
        <xsd:restriction base="dms:Choice">
          <xsd:enumeration value="L1"/>
          <xsd:enumeration value="L2"/>
          <xsd:enumeration value="L3"/>
          <xsd:enumeration value="L4"/>
          <xsd:enumeration value="Common"/>
        </xsd:restriction>
      </xsd:simpleType>
    </xsd:element>
    <xsd:element name="Category" ma:index="10" ma:displayName="Category" ma:default="Module Artifact" ma:format="Dropdown" ma:internalName="Category">
      <xsd:simpleType>
        <xsd:restriction base="dms:Choice">
          <xsd:enumeration value="Module Artifact"/>
          <xsd:enumeration value="Assessment Component"/>
        </xsd:restriction>
      </xsd:simpleType>
    </xsd:element>
    <xsd:element name="Material_x0020_Type" ma:index="12" ma:displayName="Material Type" ma:default="Class book" ma:format="Dropdown" ma:internalName="Material_x0020_Type">
      <xsd:simpleType>
        <xsd:restriction base="dms:Choice">
          <xsd:enumeration value="Demos"/>
          <xsd:enumeration value="Extra Example"/>
          <xsd:enumeration value="Extra Material"/>
          <xsd:enumeration value="Suggestions"/>
          <xsd:enumeration value="General"/>
          <xsd:enumeration value="Module Test Practical"/>
          <xsd:enumeration value="Module Test Theory"/>
          <xsd:enumeration value="Quiz"/>
          <xsd:enumeration value="Class book"/>
          <xsd:enumeration value="Lab book"/>
          <xsd:enumeration value="Recordings"/>
        </xsd:restriction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7665F-8C87-49F1-94B0-6D13FB5E12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3433B7-998A-4D4C-91CD-BC966B06FCAD}">
  <ds:schemaRefs>
    <ds:schemaRef ds:uri="http://schemas.microsoft.com/office/2006/metadata/properties"/>
    <ds:schemaRef ds:uri="http://schemas.microsoft.com/office/infopath/2007/PartnerControls"/>
    <ds:schemaRef ds:uri="f9b258c7-9c72-463b-80f6-91d061ebb25d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E2BD2A62-1BB5-4F9B-8834-3553B75D027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67</TotalTime>
  <Words>798</Words>
  <Application>Microsoft Office PowerPoint</Application>
  <PresentationFormat>On-screen Show (4:3)</PresentationFormat>
  <Paragraphs>92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ndara</vt:lpstr>
      <vt:lpstr>Verdana</vt:lpstr>
      <vt:lpstr>Wingdings</vt:lpstr>
      <vt:lpstr>2_Corporate Presentation Template (4x3 - Normal)</vt:lpstr>
      <vt:lpstr>Section slides</vt:lpstr>
      <vt:lpstr>think-cell Slide</vt:lpstr>
      <vt:lpstr>JavaScript ES6</vt:lpstr>
      <vt:lpstr>Lesson Objectives</vt:lpstr>
      <vt:lpstr>ES6 – Class Introduction</vt:lpstr>
      <vt:lpstr>Using Classes</vt:lpstr>
      <vt:lpstr>Demo</vt:lpstr>
      <vt:lpstr>The get and set methods</vt:lpstr>
      <vt:lpstr>Demo</vt:lpstr>
      <vt:lpstr>The static method</vt:lpstr>
      <vt:lpstr>Demo</vt:lpstr>
      <vt:lpstr>Implementing inheritance in classes</vt:lpstr>
      <vt:lpstr>Demo</vt:lpstr>
      <vt:lpstr>The "new.target" implicit parameter</vt:lpstr>
      <vt:lpstr>Demo</vt:lpstr>
      <vt:lpstr>Summary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ct.js-Classbook-Lesson01</dc:title>
  <dc:subject>React.js - Class book</dc:subject>
  <dc:creator>Karthik Muthukrishnan</dc:creator>
  <dc:description>React.js - Class book created by Karthik M (714709)</dc:description>
  <cp:lastModifiedBy>Tembhare, Anjulata</cp:lastModifiedBy>
  <cp:revision>1187</cp:revision>
  <dcterms:created xsi:type="dcterms:W3CDTF">2014-04-28T11:21:39Z</dcterms:created>
  <dcterms:modified xsi:type="dcterms:W3CDTF">2019-02-09T12:0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F797F9BD2124B9B89E1787624A7F8</vt:lpwstr>
  </property>
</Properties>
</file>